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801F47-D2F1-4A25-92D0-135163BA4E6A}" v="73" dt="2023-03-05T23:06:19.16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102" d="100"/>
          <a:sy n="102" d="100"/>
        </p:scale>
        <p:origin x="138" y="678"/>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88801F47-D2F1-4A25-92D0-135163BA4E6A}"/>
    <pc:docChg chg="custSel addSld delSld modSld">
      <pc:chgData name="Roberto Gallardo" userId="49a044883f185952" providerId="LiveId" clId="{88801F47-D2F1-4A25-92D0-135163BA4E6A}" dt="2023-03-05T23:06:25.746" v="416" actId="14100"/>
      <pc:docMkLst>
        <pc:docMk/>
      </pc:docMkLst>
      <pc:sldChg chg="del">
        <pc:chgData name="Roberto Gallardo" userId="49a044883f185952" providerId="LiveId" clId="{88801F47-D2F1-4A25-92D0-135163BA4E6A}" dt="2023-02-25T14:54:03.969" v="201" actId="47"/>
        <pc:sldMkLst>
          <pc:docMk/>
          <pc:sldMk cId="1175010214" sldId="261"/>
        </pc:sldMkLst>
      </pc:sldChg>
      <pc:sldChg chg="addSp delSp modSp mod">
        <pc:chgData name="Roberto Gallardo" userId="49a044883f185952" providerId="LiveId" clId="{88801F47-D2F1-4A25-92D0-135163BA4E6A}" dt="2023-03-05T22:59:21.929" v="229" actId="1076"/>
        <pc:sldMkLst>
          <pc:docMk/>
          <pc:sldMk cId="1418533539" sldId="271"/>
        </pc:sldMkLst>
        <pc:picChg chg="add mod">
          <ac:chgData name="Roberto Gallardo" userId="49a044883f185952" providerId="LiveId" clId="{88801F47-D2F1-4A25-92D0-135163BA4E6A}" dt="2023-03-05T22:59:21.929" v="229" actId="1076"/>
          <ac:picMkLst>
            <pc:docMk/>
            <pc:sldMk cId="1418533539" sldId="271"/>
            <ac:picMk id="6" creationId="{65F60594-E93B-7F9D-B29D-A290C74B4E75}"/>
          </ac:picMkLst>
        </pc:picChg>
        <pc:picChg chg="add del mod">
          <ac:chgData name="Roberto Gallardo" userId="49a044883f185952" providerId="LiveId" clId="{88801F47-D2F1-4A25-92D0-135163BA4E6A}" dt="2023-03-05T14:14:39.058" v="202" actId="478"/>
          <ac:picMkLst>
            <pc:docMk/>
            <pc:sldMk cId="1418533539" sldId="271"/>
            <ac:picMk id="6" creationId="{B79768AC-9A0F-7E10-FF1B-BB0BB1092D94}"/>
          </ac:picMkLst>
        </pc:picChg>
      </pc:sldChg>
      <pc:sldChg chg="addSp delSp modSp mod">
        <pc:chgData name="Roberto Gallardo" userId="49a044883f185952" providerId="LiveId" clId="{88801F47-D2F1-4A25-92D0-135163BA4E6A}" dt="2023-03-05T23:01:51.197" v="292" actId="1076"/>
        <pc:sldMkLst>
          <pc:docMk/>
          <pc:sldMk cId="2124848710" sldId="281"/>
        </pc:sldMkLst>
        <pc:picChg chg="add mod">
          <ac:chgData name="Roberto Gallardo" userId="49a044883f185952" providerId="LiveId" clId="{88801F47-D2F1-4A25-92D0-135163BA4E6A}" dt="2023-03-05T23:01:51.197" v="292" actId="1076"/>
          <ac:picMkLst>
            <pc:docMk/>
            <pc:sldMk cId="2124848710" sldId="281"/>
            <ac:picMk id="6" creationId="{6809A7E1-EDBB-ECAB-FF9D-DCC66AC62E59}"/>
          </ac:picMkLst>
        </pc:picChg>
        <pc:picChg chg="add del mod">
          <ac:chgData name="Roberto Gallardo" userId="49a044883f185952" providerId="LiveId" clId="{88801F47-D2F1-4A25-92D0-135163BA4E6A}" dt="2023-03-05T14:14:57.225" v="208" actId="478"/>
          <ac:picMkLst>
            <pc:docMk/>
            <pc:sldMk cId="2124848710" sldId="281"/>
            <ac:picMk id="8" creationId="{F2FD1750-EA1D-C643-DE21-657737971403}"/>
          </ac:picMkLst>
        </pc:picChg>
      </pc:sldChg>
      <pc:sldChg chg="addSp delSp modSp mod">
        <pc:chgData name="Roberto Gallardo" userId="49a044883f185952" providerId="LiveId" clId="{88801F47-D2F1-4A25-92D0-135163BA4E6A}" dt="2023-03-05T23:02:19.104" v="307" actId="1076"/>
        <pc:sldMkLst>
          <pc:docMk/>
          <pc:sldMk cId="2028175529" sldId="282"/>
        </pc:sldMkLst>
        <pc:picChg chg="add mod">
          <ac:chgData name="Roberto Gallardo" userId="49a044883f185952" providerId="LiveId" clId="{88801F47-D2F1-4A25-92D0-135163BA4E6A}" dt="2023-03-05T23:02:19.104" v="307" actId="1076"/>
          <ac:picMkLst>
            <pc:docMk/>
            <pc:sldMk cId="2028175529" sldId="282"/>
            <ac:picMk id="7" creationId="{4E6A745C-88E8-58C0-D836-CA1A573953AA}"/>
          </ac:picMkLst>
        </pc:picChg>
        <pc:picChg chg="add del mod">
          <ac:chgData name="Roberto Gallardo" userId="49a044883f185952" providerId="LiveId" clId="{88801F47-D2F1-4A25-92D0-135163BA4E6A}" dt="2023-03-05T14:14:58.420" v="209" actId="478"/>
          <ac:picMkLst>
            <pc:docMk/>
            <pc:sldMk cId="2028175529" sldId="282"/>
            <ac:picMk id="8" creationId="{450C93AA-D48F-7940-7ED0-163EBFD26A35}"/>
          </ac:picMkLst>
        </pc:picChg>
      </pc:sldChg>
      <pc:sldChg chg="addSp delSp modSp mod">
        <pc:chgData name="Roberto Gallardo" userId="49a044883f185952" providerId="LiveId" clId="{88801F47-D2F1-4A25-92D0-135163BA4E6A}" dt="2023-03-05T23:02:36.240" v="315" actId="1076"/>
        <pc:sldMkLst>
          <pc:docMk/>
          <pc:sldMk cId="1326517747" sldId="283"/>
        </pc:sldMkLst>
        <pc:picChg chg="add mod">
          <ac:chgData name="Roberto Gallardo" userId="49a044883f185952" providerId="LiveId" clId="{88801F47-D2F1-4A25-92D0-135163BA4E6A}" dt="2023-03-05T23:02:36.240" v="315" actId="1076"/>
          <ac:picMkLst>
            <pc:docMk/>
            <pc:sldMk cId="1326517747" sldId="283"/>
            <ac:picMk id="7" creationId="{00EEC4BE-1FAA-7E6C-480F-F7F96AB1D0BC}"/>
          </ac:picMkLst>
        </pc:picChg>
        <pc:picChg chg="add del mod">
          <ac:chgData name="Roberto Gallardo" userId="49a044883f185952" providerId="LiveId" clId="{88801F47-D2F1-4A25-92D0-135163BA4E6A}" dt="2023-03-05T14:15:00.155" v="210" actId="478"/>
          <ac:picMkLst>
            <pc:docMk/>
            <pc:sldMk cId="1326517747" sldId="283"/>
            <ac:picMk id="8" creationId="{9F397D55-9842-7F37-D36D-B27E25151666}"/>
          </ac:picMkLst>
        </pc:picChg>
      </pc:sldChg>
      <pc:sldChg chg="addSp delSp modSp mod">
        <pc:chgData name="Roberto Gallardo" userId="49a044883f185952" providerId="LiveId" clId="{88801F47-D2F1-4A25-92D0-135163BA4E6A}" dt="2023-03-05T23:02:58.688" v="324" actId="1076"/>
        <pc:sldMkLst>
          <pc:docMk/>
          <pc:sldMk cId="783739251" sldId="284"/>
        </pc:sldMkLst>
        <pc:picChg chg="add mod">
          <ac:chgData name="Roberto Gallardo" userId="49a044883f185952" providerId="LiveId" clId="{88801F47-D2F1-4A25-92D0-135163BA4E6A}" dt="2023-03-05T23:02:58.688" v="324" actId="1076"/>
          <ac:picMkLst>
            <pc:docMk/>
            <pc:sldMk cId="783739251" sldId="284"/>
            <ac:picMk id="7" creationId="{C3B2AB30-530A-41E2-D5A2-A8FCFA5BC148}"/>
          </ac:picMkLst>
        </pc:picChg>
        <pc:picChg chg="add del mod">
          <ac:chgData name="Roberto Gallardo" userId="49a044883f185952" providerId="LiveId" clId="{88801F47-D2F1-4A25-92D0-135163BA4E6A}" dt="2023-03-05T14:15:02.121" v="211" actId="478"/>
          <ac:picMkLst>
            <pc:docMk/>
            <pc:sldMk cId="783739251" sldId="284"/>
            <ac:picMk id="8" creationId="{A0326687-3D0A-F37C-3B8E-8F92F8E3C9DB}"/>
          </ac:picMkLst>
        </pc:picChg>
      </pc:sldChg>
      <pc:sldChg chg="addSp delSp modSp mod">
        <pc:chgData name="Roberto Gallardo" userId="49a044883f185952" providerId="LiveId" clId="{88801F47-D2F1-4A25-92D0-135163BA4E6A}" dt="2023-03-05T23:03:31.824" v="333" actId="1076"/>
        <pc:sldMkLst>
          <pc:docMk/>
          <pc:sldMk cId="1676122233" sldId="285"/>
        </pc:sldMkLst>
        <pc:picChg chg="add mod">
          <ac:chgData name="Roberto Gallardo" userId="49a044883f185952" providerId="LiveId" clId="{88801F47-D2F1-4A25-92D0-135163BA4E6A}" dt="2023-03-05T23:03:31.824" v="333" actId="1076"/>
          <ac:picMkLst>
            <pc:docMk/>
            <pc:sldMk cId="1676122233" sldId="285"/>
            <ac:picMk id="7" creationId="{0BC7D7CE-A0E2-5B1C-BB4B-C0D157ADAB58}"/>
          </ac:picMkLst>
        </pc:picChg>
        <pc:picChg chg="add del mod">
          <ac:chgData name="Roberto Gallardo" userId="49a044883f185952" providerId="LiveId" clId="{88801F47-D2F1-4A25-92D0-135163BA4E6A}" dt="2023-03-05T14:15:03.481" v="212" actId="478"/>
          <ac:picMkLst>
            <pc:docMk/>
            <pc:sldMk cId="1676122233" sldId="285"/>
            <ac:picMk id="8" creationId="{8EA64313-42A2-70E5-6F66-1E63DE134A67}"/>
          </ac:picMkLst>
        </pc:picChg>
      </pc:sldChg>
      <pc:sldChg chg="addSp delSp modSp mod">
        <pc:chgData name="Roberto Gallardo" userId="49a044883f185952" providerId="LiveId" clId="{88801F47-D2F1-4A25-92D0-135163BA4E6A}" dt="2023-03-05T23:03:54.940" v="344" actId="1076"/>
        <pc:sldMkLst>
          <pc:docMk/>
          <pc:sldMk cId="3100398757" sldId="286"/>
        </pc:sldMkLst>
        <pc:picChg chg="add mod">
          <ac:chgData name="Roberto Gallardo" userId="49a044883f185952" providerId="LiveId" clId="{88801F47-D2F1-4A25-92D0-135163BA4E6A}" dt="2023-03-05T23:03:54.940" v="344" actId="1076"/>
          <ac:picMkLst>
            <pc:docMk/>
            <pc:sldMk cId="3100398757" sldId="286"/>
            <ac:picMk id="7" creationId="{D762CD00-BB1A-93AF-20F4-AF6E4F38EC22}"/>
          </ac:picMkLst>
        </pc:picChg>
        <pc:picChg chg="add del mod">
          <ac:chgData name="Roberto Gallardo" userId="49a044883f185952" providerId="LiveId" clId="{88801F47-D2F1-4A25-92D0-135163BA4E6A}" dt="2023-03-05T14:15:05.360" v="213" actId="478"/>
          <ac:picMkLst>
            <pc:docMk/>
            <pc:sldMk cId="3100398757" sldId="286"/>
            <ac:picMk id="8" creationId="{2454839F-0504-D7A4-8E58-0BBCA91EF787}"/>
          </ac:picMkLst>
        </pc:picChg>
      </pc:sldChg>
      <pc:sldChg chg="addSp delSp modSp mod">
        <pc:chgData name="Roberto Gallardo" userId="49a044883f185952" providerId="LiveId" clId="{88801F47-D2F1-4A25-92D0-135163BA4E6A}" dt="2023-03-05T23:04:14.564" v="354" actId="1076"/>
        <pc:sldMkLst>
          <pc:docMk/>
          <pc:sldMk cId="1546475425" sldId="287"/>
        </pc:sldMkLst>
        <pc:picChg chg="add mod">
          <ac:chgData name="Roberto Gallardo" userId="49a044883f185952" providerId="LiveId" clId="{88801F47-D2F1-4A25-92D0-135163BA4E6A}" dt="2023-03-05T23:04:14.564" v="354" actId="1076"/>
          <ac:picMkLst>
            <pc:docMk/>
            <pc:sldMk cId="1546475425" sldId="287"/>
            <ac:picMk id="7" creationId="{CAC8B3D8-2F9E-2397-BDB8-12B664A19790}"/>
          </ac:picMkLst>
        </pc:picChg>
        <pc:picChg chg="add del mod">
          <ac:chgData name="Roberto Gallardo" userId="49a044883f185952" providerId="LiveId" clId="{88801F47-D2F1-4A25-92D0-135163BA4E6A}" dt="2023-03-05T14:15:07.164" v="214" actId="478"/>
          <ac:picMkLst>
            <pc:docMk/>
            <pc:sldMk cId="1546475425" sldId="287"/>
            <ac:picMk id="8" creationId="{5883239C-C031-2F9C-B841-E29DCB046F31}"/>
          </ac:picMkLst>
        </pc:picChg>
      </pc:sldChg>
      <pc:sldChg chg="addSp delSp modSp mod">
        <pc:chgData name="Roberto Gallardo" userId="49a044883f185952" providerId="LiveId" clId="{88801F47-D2F1-4A25-92D0-135163BA4E6A}" dt="2023-03-05T23:04:57.413" v="375" actId="1076"/>
        <pc:sldMkLst>
          <pc:docMk/>
          <pc:sldMk cId="1380517306" sldId="288"/>
        </pc:sldMkLst>
        <pc:picChg chg="add mod">
          <ac:chgData name="Roberto Gallardo" userId="49a044883f185952" providerId="LiveId" clId="{88801F47-D2F1-4A25-92D0-135163BA4E6A}" dt="2023-03-05T23:04:57.413" v="375" actId="1076"/>
          <ac:picMkLst>
            <pc:docMk/>
            <pc:sldMk cId="1380517306" sldId="288"/>
            <ac:picMk id="7" creationId="{85B7FB41-3B3A-8825-7290-D89F761619C5}"/>
          </ac:picMkLst>
        </pc:picChg>
        <pc:picChg chg="add del mod">
          <ac:chgData name="Roberto Gallardo" userId="49a044883f185952" providerId="LiveId" clId="{88801F47-D2F1-4A25-92D0-135163BA4E6A}" dt="2023-03-05T14:15:11.133" v="216" actId="478"/>
          <ac:picMkLst>
            <pc:docMk/>
            <pc:sldMk cId="1380517306" sldId="288"/>
            <ac:picMk id="8" creationId="{DE4634A7-BE45-63A7-070E-5523FD95D822}"/>
          </ac:picMkLst>
        </pc:picChg>
      </pc:sldChg>
      <pc:sldChg chg="addSp delSp modSp mod">
        <pc:chgData name="Roberto Gallardo" userId="49a044883f185952" providerId="LiveId" clId="{88801F47-D2F1-4A25-92D0-135163BA4E6A}" dt="2023-03-05T23:05:21.328" v="389" actId="1076"/>
        <pc:sldMkLst>
          <pc:docMk/>
          <pc:sldMk cId="1388671151" sldId="289"/>
        </pc:sldMkLst>
        <pc:picChg chg="add mod">
          <ac:chgData name="Roberto Gallardo" userId="49a044883f185952" providerId="LiveId" clId="{88801F47-D2F1-4A25-92D0-135163BA4E6A}" dt="2023-03-05T23:05:21.328" v="389" actId="1076"/>
          <ac:picMkLst>
            <pc:docMk/>
            <pc:sldMk cId="1388671151" sldId="289"/>
            <ac:picMk id="7" creationId="{5278FA3C-4293-93A0-503A-BEF6A527C95E}"/>
          </ac:picMkLst>
        </pc:picChg>
        <pc:picChg chg="add del mod">
          <ac:chgData name="Roberto Gallardo" userId="49a044883f185952" providerId="LiveId" clId="{88801F47-D2F1-4A25-92D0-135163BA4E6A}" dt="2023-03-05T14:15:12.517" v="217" actId="478"/>
          <ac:picMkLst>
            <pc:docMk/>
            <pc:sldMk cId="1388671151" sldId="289"/>
            <ac:picMk id="8" creationId="{35453AD9-0283-0A9F-C89F-10DA8FCA70CF}"/>
          </ac:picMkLst>
        </pc:picChg>
      </pc:sldChg>
      <pc:sldChg chg="addSp delSp modSp mod">
        <pc:chgData name="Roberto Gallardo" userId="49a044883f185952" providerId="LiveId" clId="{88801F47-D2F1-4A25-92D0-135163BA4E6A}" dt="2023-03-05T23:06:07.712" v="409" actId="1076"/>
        <pc:sldMkLst>
          <pc:docMk/>
          <pc:sldMk cId="2355376039" sldId="290"/>
        </pc:sldMkLst>
        <pc:picChg chg="add mod">
          <ac:chgData name="Roberto Gallardo" userId="49a044883f185952" providerId="LiveId" clId="{88801F47-D2F1-4A25-92D0-135163BA4E6A}" dt="2023-03-05T23:06:07.712" v="409" actId="1076"/>
          <ac:picMkLst>
            <pc:docMk/>
            <pc:sldMk cId="2355376039" sldId="290"/>
            <ac:picMk id="8" creationId="{0F1ED2FB-38A4-9D39-D710-22F71313E661}"/>
          </ac:picMkLst>
        </pc:picChg>
        <pc:picChg chg="add del mod">
          <ac:chgData name="Roberto Gallardo" userId="49a044883f185952" providerId="LiveId" clId="{88801F47-D2F1-4A25-92D0-135163BA4E6A}" dt="2023-03-05T14:15:15.833" v="219" actId="478"/>
          <ac:picMkLst>
            <pc:docMk/>
            <pc:sldMk cId="2355376039" sldId="290"/>
            <ac:picMk id="9" creationId="{84A391CA-22C1-1879-2565-85F08976240D}"/>
          </ac:picMkLst>
        </pc:picChg>
      </pc:sldChg>
      <pc:sldChg chg="addSp delSp modSp mod">
        <pc:chgData name="Roberto Gallardo" userId="49a044883f185952" providerId="LiveId" clId="{88801F47-D2F1-4A25-92D0-135163BA4E6A}" dt="2023-03-05T23:06:25.746" v="416" actId="14100"/>
        <pc:sldMkLst>
          <pc:docMk/>
          <pc:sldMk cId="3757257295" sldId="291"/>
        </pc:sldMkLst>
        <pc:picChg chg="add mod">
          <ac:chgData name="Roberto Gallardo" userId="49a044883f185952" providerId="LiveId" clId="{88801F47-D2F1-4A25-92D0-135163BA4E6A}" dt="2023-03-05T23:06:25.746" v="416" actId="14100"/>
          <ac:picMkLst>
            <pc:docMk/>
            <pc:sldMk cId="3757257295" sldId="291"/>
            <ac:picMk id="8" creationId="{AE6B0FC2-42C8-6409-7383-8326BD098860}"/>
          </ac:picMkLst>
        </pc:picChg>
        <pc:picChg chg="add del mod">
          <ac:chgData name="Roberto Gallardo" userId="49a044883f185952" providerId="LiveId" clId="{88801F47-D2F1-4A25-92D0-135163BA4E6A}" dt="2023-03-05T14:15:17.113" v="220" actId="478"/>
          <ac:picMkLst>
            <pc:docMk/>
            <pc:sldMk cId="3757257295" sldId="291"/>
            <ac:picMk id="9" creationId="{4BB8A410-1F9B-DA48-B074-1EF756E00A8C}"/>
          </ac:picMkLst>
        </pc:picChg>
      </pc:sldChg>
      <pc:sldChg chg="addSp delSp modSp mod">
        <pc:chgData name="Roberto Gallardo" userId="49a044883f185952" providerId="LiveId" clId="{88801F47-D2F1-4A25-92D0-135163BA4E6A}" dt="2023-03-05T23:04:34.661" v="365" actId="1076"/>
        <pc:sldMkLst>
          <pc:docMk/>
          <pc:sldMk cId="1259856727" sldId="292"/>
        </pc:sldMkLst>
        <pc:picChg chg="add mod">
          <ac:chgData name="Roberto Gallardo" userId="49a044883f185952" providerId="LiveId" clId="{88801F47-D2F1-4A25-92D0-135163BA4E6A}" dt="2023-03-05T23:04:34.661" v="365" actId="1076"/>
          <ac:picMkLst>
            <pc:docMk/>
            <pc:sldMk cId="1259856727" sldId="292"/>
            <ac:picMk id="7" creationId="{75613B86-ED70-8420-23A7-645922457584}"/>
          </ac:picMkLst>
        </pc:picChg>
        <pc:picChg chg="add del mod">
          <ac:chgData name="Roberto Gallardo" userId="49a044883f185952" providerId="LiveId" clId="{88801F47-D2F1-4A25-92D0-135163BA4E6A}" dt="2023-03-05T14:15:09.304" v="215" actId="478"/>
          <ac:picMkLst>
            <pc:docMk/>
            <pc:sldMk cId="1259856727" sldId="292"/>
            <ac:picMk id="8" creationId="{D3C55057-4CD3-7F92-D993-3FD013478FC2}"/>
          </ac:picMkLst>
        </pc:picChg>
      </pc:sldChg>
      <pc:sldChg chg="addSp delSp modSp mod">
        <pc:chgData name="Roberto Gallardo" userId="49a044883f185952" providerId="LiveId" clId="{88801F47-D2F1-4A25-92D0-135163BA4E6A}" dt="2023-03-05T23:01:31.637" v="283" actId="1076"/>
        <pc:sldMkLst>
          <pc:docMk/>
          <pc:sldMk cId="3324519687" sldId="293"/>
        </pc:sldMkLst>
        <pc:picChg chg="add mod">
          <ac:chgData name="Roberto Gallardo" userId="49a044883f185952" providerId="LiveId" clId="{88801F47-D2F1-4A25-92D0-135163BA4E6A}" dt="2023-03-05T23:01:31.637" v="283" actId="1076"/>
          <ac:picMkLst>
            <pc:docMk/>
            <pc:sldMk cId="3324519687" sldId="293"/>
            <ac:picMk id="7" creationId="{89159E0B-B445-3514-9C8C-961EDE5159BA}"/>
          </ac:picMkLst>
        </pc:picChg>
        <pc:picChg chg="add del mod">
          <ac:chgData name="Roberto Gallardo" userId="49a044883f185952" providerId="LiveId" clId="{88801F47-D2F1-4A25-92D0-135163BA4E6A}" dt="2023-03-05T14:14:48.909" v="207" actId="478"/>
          <ac:picMkLst>
            <pc:docMk/>
            <pc:sldMk cId="3324519687" sldId="293"/>
            <ac:picMk id="8" creationId="{0406565A-446D-6C66-C9CE-069F4D150DBC}"/>
          </ac:picMkLst>
        </pc:picChg>
      </pc:sldChg>
      <pc:sldChg chg="addSp delSp modSp mod">
        <pc:chgData name="Roberto Gallardo" userId="49a044883f185952" providerId="LiveId" clId="{88801F47-D2F1-4A25-92D0-135163BA4E6A}" dt="2023-03-05T23:00:33.036" v="255" actId="1076"/>
        <pc:sldMkLst>
          <pc:docMk/>
          <pc:sldMk cId="3256182630" sldId="295"/>
        </pc:sldMkLst>
        <pc:picChg chg="add mod">
          <ac:chgData name="Roberto Gallardo" userId="49a044883f185952" providerId="LiveId" clId="{88801F47-D2F1-4A25-92D0-135163BA4E6A}" dt="2023-03-05T23:00:33.036" v="255" actId="1076"/>
          <ac:picMkLst>
            <pc:docMk/>
            <pc:sldMk cId="3256182630" sldId="295"/>
            <ac:picMk id="7" creationId="{03E2B4A1-3389-C207-5085-48558DCDA07C}"/>
          </ac:picMkLst>
        </pc:picChg>
        <pc:picChg chg="add del mod">
          <ac:chgData name="Roberto Gallardo" userId="49a044883f185952" providerId="LiveId" clId="{88801F47-D2F1-4A25-92D0-135163BA4E6A}" dt="2023-03-05T14:14:45.300" v="205" actId="478"/>
          <ac:picMkLst>
            <pc:docMk/>
            <pc:sldMk cId="3256182630" sldId="295"/>
            <ac:picMk id="8" creationId="{8AF24EEC-FFF4-7072-447D-A4728077FE5B}"/>
          </ac:picMkLst>
        </pc:picChg>
      </pc:sldChg>
      <pc:sldChg chg="addSp delSp modSp mod">
        <pc:chgData name="Roberto Gallardo" userId="49a044883f185952" providerId="LiveId" clId="{88801F47-D2F1-4A25-92D0-135163BA4E6A}" dt="2023-03-05T23:01:00.101" v="268" actId="1076"/>
        <pc:sldMkLst>
          <pc:docMk/>
          <pc:sldMk cId="4057156843" sldId="296"/>
        </pc:sldMkLst>
        <pc:picChg chg="add mod">
          <ac:chgData name="Roberto Gallardo" userId="49a044883f185952" providerId="LiveId" clId="{88801F47-D2F1-4A25-92D0-135163BA4E6A}" dt="2023-03-05T23:01:00.101" v="268" actId="1076"/>
          <ac:picMkLst>
            <pc:docMk/>
            <pc:sldMk cId="4057156843" sldId="296"/>
            <ac:picMk id="7" creationId="{C138731B-10F0-445D-139B-F56ABBE1CD89}"/>
          </ac:picMkLst>
        </pc:picChg>
        <pc:picChg chg="add del mod">
          <ac:chgData name="Roberto Gallardo" userId="49a044883f185952" providerId="LiveId" clId="{88801F47-D2F1-4A25-92D0-135163BA4E6A}" dt="2023-03-05T14:14:46.485" v="206" actId="478"/>
          <ac:picMkLst>
            <pc:docMk/>
            <pc:sldMk cId="4057156843" sldId="296"/>
            <ac:picMk id="8" creationId="{18A88743-2BB8-2E0F-DEFE-2673F0DF6B1F}"/>
          </ac:picMkLst>
        </pc:picChg>
      </pc:sldChg>
      <pc:sldChg chg="addSp delSp modSp mod">
        <pc:chgData name="Roberto Gallardo" userId="49a044883f185952" providerId="LiveId" clId="{88801F47-D2F1-4A25-92D0-135163BA4E6A}" dt="2023-03-05T22:59:51.385" v="243" actId="1076"/>
        <pc:sldMkLst>
          <pc:docMk/>
          <pc:sldMk cId="2080110827" sldId="297"/>
        </pc:sldMkLst>
        <pc:picChg chg="add del mod">
          <ac:chgData name="Roberto Gallardo" userId="49a044883f185952" providerId="LiveId" clId="{88801F47-D2F1-4A25-92D0-135163BA4E6A}" dt="2023-03-05T14:14:42.775" v="204" actId="478"/>
          <ac:picMkLst>
            <pc:docMk/>
            <pc:sldMk cId="2080110827" sldId="297"/>
            <ac:picMk id="6" creationId="{4E9F59D8-4018-A1E5-AFBF-B41FCA3D7B7E}"/>
          </ac:picMkLst>
        </pc:picChg>
        <pc:picChg chg="add mod">
          <ac:chgData name="Roberto Gallardo" userId="49a044883f185952" providerId="LiveId" clId="{88801F47-D2F1-4A25-92D0-135163BA4E6A}" dt="2023-03-05T22:59:51.385" v="243" actId="1076"/>
          <ac:picMkLst>
            <pc:docMk/>
            <pc:sldMk cId="2080110827" sldId="297"/>
            <ac:picMk id="6" creationId="{55CEC806-D0E7-848E-531E-4BEBE9024595}"/>
          </ac:picMkLst>
        </pc:picChg>
      </pc:sldChg>
      <pc:sldChg chg="addSp delSp modSp mod">
        <pc:chgData name="Roberto Gallardo" userId="49a044883f185952" providerId="LiveId" clId="{88801F47-D2F1-4A25-92D0-135163BA4E6A}" dt="2023-03-05T22:59:36.570" v="236" actId="1076"/>
        <pc:sldMkLst>
          <pc:docMk/>
          <pc:sldMk cId="1532666867" sldId="298"/>
        </pc:sldMkLst>
        <pc:picChg chg="add mod">
          <ac:chgData name="Roberto Gallardo" userId="49a044883f185952" providerId="LiveId" clId="{88801F47-D2F1-4A25-92D0-135163BA4E6A}" dt="2023-03-05T22:59:36.570" v="236" actId="1076"/>
          <ac:picMkLst>
            <pc:docMk/>
            <pc:sldMk cId="1532666867" sldId="298"/>
            <ac:picMk id="6" creationId="{2A954838-EF83-002E-C0AE-859885106160}"/>
          </ac:picMkLst>
        </pc:picChg>
        <pc:picChg chg="add del mod">
          <ac:chgData name="Roberto Gallardo" userId="49a044883f185952" providerId="LiveId" clId="{88801F47-D2F1-4A25-92D0-135163BA4E6A}" dt="2023-03-05T14:14:40.203" v="203" actId="478"/>
          <ac:picMkLst>
            <pc:docMk/>
            <pc:sldMk cId="1532666867" sldId="298"/>
            <ac:picMk id="6" creationId="{79D17405-F87A-31BA-492F-86627341FC07}"/>
          </ac:picMkLst>
        </pc:picChg>
      </pc:sldChg>
      <pc:sldChg chg="addSp delSp modSp mod">
        <pc:chgData name="Roberto Gallardo" userId="49a044883f185952" providerId="LiveId" clId="{88801F47-D2F1-4A25-92D0-135163BA4E6A}" dt="2023-03-05T23:05:42.903" v="399" actId="1076"/>
        <pc:sldMkLst>
          <pc:docMk/>
          <pc:sldMk cId="1951376777" sldId="299"/>
        </pc:sldMkLst>
        <pc:picChg chg="add mod">
          <ac:chgData name="Roberto Gallardo" userId="49a044883f185952" providerId="LiveId" clId="{88801F47-D2F1-4A25-92D0-135163BA4E6A}" dt="2023-03-05T23:05:42.903" v="399" actId="1076"/>
          <ac:picMkLst>
            <pc:docMk/>
            <pc:sldMk cId="1951376777" sldId="299"/>
            <ac:picMk id="7" creationId="{86CC8D93-0D72-8598-C57D-0E21FD1155AB}"/>
          </ac:picMkLst>
        </pc:picChg>
        <pc:picChg chg="add del mod">
          <ac:chgData name="Roberto Gallardo" userId="49a044883f185952" providerId="LiveId" clId="{88801F47-D2F1-4A25-92D0-135163BA4E6A}" dt="2023-03-05T14:15:14.170" v="218" actId="478"/>
          <ac:picMkLst>
            <pc:docMk/>
            <pc:sldMk cId="1951376777" sldId="299"/>
            <ac:picMk id="8" creationId="{0A9FDC4C-FD87-0A28-22CB-382C1B70F7A7}"/>
          </ac:picMkLst>
        </pc:picChg>
      </pc:sldChg>
      <pc:sldChg chg="modSp mod">
        <pc:chgData name="Roberto Gallardo" userId="49a044883f185952" providerId="LiveId" clId="{88801F47-D2F1-4A25-92D0-135163BA4E6A}" dt="2023-02-25T13:23:38.271" v="199" actId="20577"/>
        <pc:sldMkLst>
          <pc:docMk/>
          <pc:sldMk cId="1515423683" sldId="302"/>
        </pc:sldMkLst>
        <pc:spChg chg="mod">
          <ac:chgData name="Roberto Gallardo" userId="49a044883f185952" providerId="LiveId" clId="{88801F47-D2F1-4A25-92D0-135163BA4E6A}" dt="2023-02-25T13:23:38.271" v="199" actId="20577"/>
          <ac:spMkLst>
            <pc:docMk/>
            <pc:sldMk cId="1515423683" sldId="302"/>
            <ac:spMk id="5" creationId="{6AE302AC-8931-4144-BE52-DD1A8BA82462}"/>
          </ac:spMkLst>
        </pc:spChg>
        <pc:spChg chg="mod">
          <ac:chgData name="Roberto Gallardo" userId="49a044883f185952" providerId="LiveId" clId="{88801F47-D2F1-4A25-92D0-135163BA4E6A}" dt="2023-02-25T13:23:35.885" v="198" actId="20577"/>
          <ac:spMkLst>
            <pc:docMk/>
            <pc:sldMk cId="1515423683" sldId="302"/>
            <ac:spMk id="9" creationId="{E362A98F-7DCD-C67C-23CE-1BE182A133B4}"/>
          </ac:spMkLst>
        </pc:spChg>
      </pc:sldChg>
      <pc:sldChg chg="del">
        <pc:chgData name="Roberto Gallardo" userId="49a044883f185952" providerId="LiveId" clId="{88801F47-D2F1-4A25-92D0-135163BA4E6A}" dt="2023-02-25T14:54:03.969" v="201" actId="47"/>
        <pc:sldMkLst>
          <pc:docMk/>
          <pc:sldMk cId="2841628872" sldId="303"/>
        </pc:sldMkLst>
      </pc:sldChg>
      <pc:sldChg chg="del">
        <pc:chgData name="Roberto Gallardo" userId="49a044883f185952" providerId="LiveId" clId="{88801F47-D2F1-4A25-92D0-135163BA4E6A}" dt="2023-02-25T14:54:03.969" v="201" actId="47"/>
        <pc:sldMkLst>
          <pc:docMk/>
          <pc:sldMk cId="3084076302" sldId="304"/>
        </pc:sldMkLst>
      </pc:sldChg>
      <pc:sldChg chg="del">
        <pc:chgData name="Roberto Gallardo" userId="49a044883f185952" providerId="LiveId" clId="{88801F47-D2F1-4A25-92D0-135163BA4E6A}" dt="2023-02-25T14:54:03.969" v="201" actId="47"/>
        <pc:sldMkLst>
          <pc:docMk/>
          <pc:sldMk cId="473712435" sldId="305"/>
        </pc:sldMkLst>
      </pc:sldChg>
      <pc:sldChg chg="add">
        <pc:chgData name="Roberto Gallardo" userId="49a044883f185952" providerId="LiveId" clId="{88801F47-D2F1-4A25-92D0-135163BA4E6A}" dt="2023-02-25T14:54:01.067" v="200"/>
        <pc:sldMkLst>
          <pc:docMk/>
          <pc:sldMk cId="1226337811" sldId="307"/>
        </pc:sldMkLst>
      </pc:sldChg>
      <pc:sldChg chg="add">
        <pc:chgData name="Roberto Gallardo" userId="49a044883f185952" providerId="LiveId" clId="{88801F47-D2F1-4A25-92D0-135163BA4E6A}" dt="2023-02-25T14:54:01.067" v="200"/>
        <pc:sldMkLst>
          <pc:docMk/>
          <pc:sldMk cId="2303327078" sldId="308"/>
        </pc:sldMkLst>
      </pc:sldChg>
      <pc:sldChg chg="add">
        <pc:chgData name="Roberto Gallardo" userId="49a044883f185952" providerId="LiveId" clId="{88801F47-D2F1-4A25-92D0-135163BA4E6A}" dt="2023-02-25T14:54:01.067" v="200"/>
        <pc:sldMkLst>
          <pc:docMk/>
          <pc:sldMk cId="2231203896" sldId="309"/>
        </pc:sldMkLst>
      </pc:sldChg>
      <pc:sldChg chg="add">
        <pc:chgData name="Roberto Gallardo" userId="49a044883f185952" providerId="LiveId" clId="{88801F47-D2F1-4A25-92D0-135163BA4E6A}" dt="2023-02-25T14:54:01.067" v="200"/>
        <pc:sldMkLst>
          <pc:docMk/>
          <pc:sldMk cId="2556425322"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Union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99402F3-CC26-14A3-989B-1B5283116497}"/>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22312038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4ADCD354-F679-7904-37A7-587DC30DDF65}"/>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25564253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Diagram&#10;&#10;Description automatically generated">
            <a:extLst>
              <a:ext uri="{FF2B5EF4-FFF2-40B4-BE49-F238E27FC236}">
                <a16:creationId xmlns:a16="http://schemas.microsoft.com/office/drawing/2014/main" id="{65F60594-E93B-7F9D-B29D-A290C74B4E7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10;&#10;Description automatically generated">
            <a:extLst>
              <a:ext uri="{FF2B5EF4-FFF2-40B4-BE49-F238E27FC236}">
                <a16:creationId xmlns:a16="http://schemas.microsoft.com/office/drawing/2014/main" id="{2A954838-EF83-002E-C0AE-8598851061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10;&#10;Description automatically generated">
            <a:extLst>
              <a:ext uri="{FF2B5EF4-FFF2-40B4-BE49-F238E27FC236}">
                <a16:creationId xmlns:a16="http://schemas.microsoft.com/office/drawing/2014/main" id="{55CEC806-D0E7-848E-531E-4BEBE90245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D6BF5CFB-4EBF-9CBA-2BC8-5B649E0922F9}"/>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Diagram&#10;&#10;Description automatically generated">
            <a:extLst>
              <a:ext uri="{FF2B5EF4-FFF2-40B4-BE49-F238E27FC236}">
                <a16:creationId xmlns:a16="http://schemas.microsoft.com/office/drawing/2014/main" id="{03E2B4A1-3389-C207-5085-48558DCDA0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52"/>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FBFF4CDC-E919-50A0-4E52-94F1DF134BB6}"/>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Diagram&#10;&#10;Description automatically generated">
            <a:extLst>
              <a:ext uri="{FF2B5EF4-FFF2-40B4-BE49-F238E27FC236}">
                <a16:creationId xmlns:a16="http://schemas.microsoft.com/office/drawing/2014/main" id="{C138731B-10F0-445D-139B-F56ABBE1CD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0" cy="452637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03217530-60E4-1B23-9292-C832CB0BD0DD}"/>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Diagram&#10;&#10;Description automatically generated">
            <a:extLst>
              <a:ext uri="{FF2B5EF4-FFF2-40B4-BE49-F238E27FC236}">
                <a16:creationId xmlns:a16="http://schemas.microsoft.com/office/drawing/2014/main" id="{89159E0B-B445-3514-9C8C-961EDE5159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269"/>
            <a:ext cx="6400800" cy="4526372"/>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C03E77DC-143B-2D8D-A5AD-6A5561DE7C99}"/>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Diagram&#10;&#10;Description automatically generated">
            <a:extLst>
              <a:ext uri="{FF2B5EF4-FFF2-40B4-BE49-F238E27FC236}">
                <a16:creationId xmlns:a16="http://schemas.microsoft.com/office/drawing/2014/main" id="{6809A7E1-EDBB-ECAB-FF9D-DCC66AC62E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1548"/>
            <a:ext cx="6403975" cy="4528616"/>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63A7971D-09ED-9B5E-7BFE-B023AF14B55E}"/>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4E6A745C-88E8-58C0-D836-CA1A573953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1780"/>
            <a:ext cx="6405562" cy="4529739"/>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a:t>
            </a:r>
            <a:r>
              <a:rPr lang="en-US" sz="1400"/>
              <a:t>darker 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C884D540-F283-BE57-435C-98FA94392654}"/>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00EEC4BE-1FAA-7E6C-480F-F7F96AB1D0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5927" y="1402728"/>
            <a:ext cx="6397699" cy="4524178"/>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EE477DB7-D298-3A73-ADAC-8660A5597846}"/>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C3B2AB30-530A-41E2-D5A2-A8FCFA5BC1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917"/>
            <a:ext cx="6400800"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49926F43-AFF2-F166-7307-B8A49472E6F3}"/>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10;&#10;Description automatically generated">
            <a:extLst>
              <a:ext uri="{FF2B5EF4-FFF2-40B4-BE49-F238E27FC236}">
                <a16:creationId xmlns:a16="http://schemas.microsoft.com/office/drawing/2014/main" id="{0BC7D7CE-A0E2-5B1C-BB4B-C0D157ADAB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881" y="1408701"/>
            <a:ext cx="6400800" cy="452637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6AE5D592-AD93-8249-1A8B-D6F4066959BF}"/>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Chart, diagram, surface chart&#10;&#10;Description automatically generated">
            <a:extLst>
              <a:ext uri="{FF2B5EF4-FFF2-40B4-BE49-F238E27FC236}">
                <a16:creationId xmlns:a16="http://schemas.microsoft.com/office/drawing/2014/main" id="{D762CD00-BB1A-93AF-20F4-AF6E4F38EC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29792" y="1415569"/>
            <a:ext cx="6419333" cy="4539477"/>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DBE80821-B62D-6605-2A34-BA0B810C7011}"/>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CAC8B3D8-2F9E-2397-BDB8-12B664A197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23711" y="1412052"/>
            <a:ext cx="6415889" cy="4537042"/>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152C5930-BBE3-F2B5-206B-E96F450EC3F4}"/>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Chart, diagram, surface chart&#10;&#10;Description automatically generated">
            <a:extLst>
              <a:ext uri="{FF2B5EF4-FFF2-40B4-BE49-F238E27FC236}">
                <a16:creationId xmlns:a16="http://schemas.microsoft.com/office/drawing/2014/main" id="{75613B86-ED70-8420-23A7-6459224575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7238"/>
            <a:ext cx="6399482" cy="4525439"/>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89E46642-D11F-154E-150B-83263E44629F}"/>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10;&#10;Description automatically generated">
            <a:extLst>
              <a:ext uri="{FF2B5EF4-FFF2-40B4-BE49-F238E27FC236}">
                <a16:creationId xmlns:a16="http://schemas.microsoft.com/office/drawing/2014/main" id="{85B7FB41-3B3A-8825-7290-D89F761619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1402"/>
            <a:ext cx="6400801" cy="4526372"/>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7ED5A65B-A1A1-9138-B175-64CA717D41C8}"/>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5278FA3C-4293-93A0-503A-BEF6A527C9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407"/>
            <a:ext cx="6400800" cy="4526372"/>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CF43BE19-2129-E686-F887-E9193429E5DD}"/>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Diagram&#10;&#10;Description automatically generated">
            <a:extLst>
              <a:ext uri="{FF2B5EF4-FFF2-40B4-BE49-F238E27FC236}">
                <a16:creationId xmlns:a16="http://schemas.microsoft.com/office/drawing/2014/main" id="{86CC8D93-0D72-8598-C57D-0E21FD1155A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F4037BCB-5D9A-0A60-6F59-9E33C7222CF9}"/>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Diagram, schematic&#10;&#10;Description automatically generated">
            <a:extLst>
              <a:ext uri="{FF2B5EF4-FFF2-40B4-BE49-F238E27FC236}">
                <a16:creationId xmlns:a16="http://schemas.microsoft.com/office/drawing/2014/main" id="{0F1ED2FB-38A4-9D39-D710-22F71313E6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147"/>
            <a:ext cx="6400800" cy="4526371"/>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F651E13E-28A6-50BC-6A96-D19716006914}"/>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BC7A9B56-F2CD-0E8F-1999-C93AE1643F2C}"/>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Diagram&#10;&#10;Description automatically generated">
            <a:extLst>
              <a:ext uri="{FF2B5EF4-FFF2-40B4-BE49-F238E27FC236}">
                <a16:creationId xmlns:a16="http://schemas.microsoft.com/office/drawing/2014/main" id="{AE6B0FC2-42C8-6409-7383-8326BD0988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5838"/>
            <a:ext cx="6400800" cy="4526371"/>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C4D468F0-CD12-CCB9-16FF-48D1071BE693}"/>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42E126EA-C246-5FC9-E517-FE8271F31B3A}"/>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0B5BBC8-2F68-5BC8-C541-8E0A57FAEF1A}"/>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32901" y="1691989"/>
            <a:ext cx="1198148" cy="2600577"/>
            <a:chOff x="2775759" y="1891433"/>
            <a:chExt cx="1198148" cy="2600577"/>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609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3374833" y="1891433"/>
              <a:ext cx="0" cy="8039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53528"/>
              <a:ext cx="0" cy="8384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0E243481-3895-8F9B-0452-2542039D8679}"/>
              </a:ext>
            </a:extLst>
          </p:cNvPr>
          <p:cNvGrpSpPr/>
          <p:nvPr/>
        </p:nvGrpSpPr>
        <p:grpSpPr>
          <a:xfrm>
            <a:off x="5147278" y="1991801"/>
            <a:ext cx="1198148" cy="2227585"/>
            <a:chOff x="5385750" y="2201038"/>
            <a:chExt cx="1198148" cy="2227585"/>
          </a:xfrm>
        </p:grpSpPr>
        <p:sp>
          <p:nvSpPr>
            <p:cNvPr id="16" name="TextBox 15">
              <a:extLst>
                <a:ext uri="{FF2B5EF4-FFF2-40B4-BE49-F238E27FC236}">
                  <a16:creationId xmlns:a16="http://schemas.microsoft.com/office/drawing/2014/main" id="{420A225E-A640-906C-A470-552759842A43}"/>
                </a:ext>
              </a:extLst>
            </p:cNvPr>
            <p:cNvSpPr txBox="1"/>
            <p:nvPr/>
          </p:nvSpPr>
          <p:spPr>
            <a:xfrm>
              <a:off x="5385750" y="296489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5834222" y="44286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5831277" y="22010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a:endCxn id="16" idx="0"/>
            </p:cNvCxnSpPr>
            <p:nvPr/>
          </p:nvCxnSpPr>
          <p:spPr>
            <a:xfrm>
              <a:off x="5984824" y="2201038"/>
              <a:ext cx="0" cy="76385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a:stCxn id="16" idx="2"/>
            </p:cNvCxnSpPr>
            <p:nvPr/>
          </p:nvCxnSpPr>
          <p:spPr>
            <a:xfrm>
              <a:off x="5984824" y="3857446"/>
              <a:ext cx="0" cy="56860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2F068F95-0687-AB57-94F9-C55A9D7A2FD0}"/>
              </a:ext>
            </a:extLst>
          </p:cNvPr>
          <p:cNvGrpSpPr/>
          <p:nvPr/>
        </p:nvGrpSpPr>
        <p:grpSpPr>
          <a:xfrm>
            <a:off x="7008861" y="1812324"/>
            <a:ext cx="1198148" cy="2091613"/>
            <a:chOff x="8040444" y="2992125"/>
            <a:chExt cx="1198148" cy="2091613"/>
          </a:xfrm>
        </p:grpSpPr>
        <p:sp>
          <p:nvSpPr>
            <p:cNvPr id="21" name="TextBox 20">
              <a:extLst>
                <a:ext uri="{FF2B5EF4-FFF2-40B4-BE49-F238E27FC236}">
                  <a16:creationId xmlns:a16="http://schemas.microsoft.com/office/drawing/2014/main" id="{9A68ADBE-AECC-EE60-7E94-3675B33E08AE}"/>
                </a:ext>
              </a:extLst>
            </p:cNvPr>
            <p:cNvSpPr txBox="1"/>
            <p:nvPr/>
          </p:nvSpPr>
          <p:spPr>
            <a:xfrm>
              <a:off x="8040444" y="3655863"/>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1</a:t>
              </a:r>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8482681" y="50837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8492549" y="29921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a:endCxn id="21" idx="0"/>
            </p:cNvCxnSpPr>
            <p:nvPr/>
          </p:nvCxnSpPr>
          <p:spPr>
            <a:xfrm>
              <a:off x="8639518" y="2992125"/>
              <a:ext cx="0" cy="66373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a:stCxn id="21" idx="2"/>
            </p:cNvCxnSpPr>
            <p:nvPr/>
          </p:nvCxnSpPr>
          <p:spPr>
            <a:xfrm>
              <a:off x="8639518" y="4548415"/>
              <a:ext cx="0" cy="5286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44700" y="2079949"/>
            <a:ext cx="1198148" cy="1814463"/>
            <a:chOff x="10476220" y="3905337"/>
            <a:chExt cx="1198148" cy="1814463"/>
          </a:xfrm>
        </p:grpSpPr>
        <p:sp>
          <p:nvSpPr>
            <p:cNvPr id="11" name="TextBox 10">
              <a:extLst>
                <a:ext uri="{FF2B5EF4-FFF2-40B4-BE49-F238E27FC236}">
                  <a16:creationId xmlns:a16="http://schemas.microsoft.com/office/drawing/2014/main" id="{09F5AE19-B4E3-7788-F25F-CDA80D596DAF}"/>
                </a:ext>
              </a:extLst>
            </p:cNvPr>
            <p:cNvSpPr txBox="1"/>
            <p:nvPr/>
          </p:nvSpPr>
          <p:spPr>
            <a:xfrm>
              <a:off x="10476220" y="448428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18.2</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11087" y="57198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23650" y="390533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75294" y="3905337"/>
              <a:ext cx="0" cy="5789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p:cNvCxnSpPr>
            <p:nvPr/>
          </p:nvCxnSpPr>
          <p:spPr>
            <a:xfrm>
              <a:off x="11065769" y="5378803"/>
              <a:ext cx="0" cy="33147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AB1344F2-DBB9-CC56-D223-BE2F6AF88AC3}"/>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DB79AA84-1F16-2DBE-671F-71F04A5F0CEB}"/>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609CF36D-1FDE-4A2C-1947-650A24EC05F4}"/>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8B8F9B52-67EC-7B5A-13B1-7DB132ACD2D5}"/>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4A85D34B-2299-B995-EC87-D6B0CF021298}"/>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258C7774-6046-ECDB-0261-D33BC105BDB1}"/>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52ACFF6D-0E82-B8EA-DD9A-FFBD71CE79B3}"/>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12263378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2E8602F3-10D7-DE7F-FF35-A59CE984F2D8}"/>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23033270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91</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66</cp:revision>
  <dcterms:created xsi:type="dcterms:W3CDTF">2022-07-04T13:32:28Z</dcterms:created>
  <dcterms:modified xsi:type="dcterms:W3CDTF">2023-03-05T23:06:27Z</dcterms:modified>
</cp:coreProperties>
</file>